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sldIdLst>
    <p:sldId id="256" r:id="rId5"/>
    <p:sldId id="257" r:id="rId6"/>
    <p:sldId id="258" r:id="rId7"/>
    <p:sldId id="259" r:id="rId8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3C2F41B-1B4E-4AD6-B51B-B923E8938371}" v="3" dt="2022-11-15T08:31:10.802"/>
    <p1510:client id="{08E2F8A3-DB2E-4186-9CB3-6698C215F79A}" v="1" dt="2022-11-13T23:06:49.605"/>
    <p1510:client id="{8089290C-3CF1-4E60-B7B9-235822026F84}" v="50" dt="2022-11-09T17:09:41.53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972" autoAdjust="0"/>
    <p:restoredTop sz="94660"/>
  </p:normalViewPr>
  <p:slideViewPr>
    <p:cSldViewPr snapToGrid="0">
      <p:cViewPr varScale="1">
        <p:scale>
          <a:sx n="113" d="100"/>
          <a:sy n="113" d="100"/>
        </p:scale>
        <p:origin x="108" y="15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5-Nov-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387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5-Nov-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9054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5-Nov-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4456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5-Nov-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5-Nov-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5245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5-Nov-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0920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5-Nov-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1723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5-Nov-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3125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5-Nov-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3889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5-Nov-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841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5-Nov-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9582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2BA3C15-4FC6-43AF-81D5-54889514AB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824614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5" imgW="473" imgH="473" progId="TCLayout.ActiveDocument.1">
                  <p:embed/>
                </p:oleObj>
              </mc:Choice>
              <mc:Fallback>
                <p:oleObj name="think-cell Slide" r:id="rId15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2BA3C15-4FC6-43AF-81D5-54889514AB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15-Nov-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2F7BB8D-94C7-4618-B2EC-3EE905A6DB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4456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2F7BB8D-94C7-4618-B2EC-3EE905A6DB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AA27A7C-2B17-42B8-AB34-3B96B4EABE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Architecture Laye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DE0DE3-B372-4527-83AD-D8721D320A4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GB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DB602D2-D5CF-4BB6-ACD5-FD779BD5D311}"/>
              </a:ext>
            </a:extLst>
          </p:cNvPr>
          <p:cNvSpPr/>
          <p:nvPr/>
        </p:nvSpPr>
        <p:spPr>
          <a:xfrm>
            <a:off x="838200" y="1825625"/>
            <a:ext cx="10515600" cy="216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Strategy and Business Architecture Element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15DB886-F44F-4A28-95D4-F4D21022A53F}"/>
              </a:ext>
            </a:extLst>
          </p:cNvPr>
          <p:cNvSpPr/>
          <p:nvPr/>
        </p:nvSpPr>
        <p:spPr>
          <a:xfrm>
            <a:off x="838200" y="3985625"/>
            <a:ext cx="10515600" cy="216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System and Technology Architecture Elements</a:t>
            </a:r>
          </a:p>
        </p:txBody>
      </p:sp>
    </p:spTree>
    <p:extLst>
      <p:ext uri="{BB962C8B-B14F-4D97-AF65-F5344CB8AC3E}">
        <p14:creationId xmlns:p14="http://schemas.microsoft.com/office/powerpoint/2010/main" val="23046332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8F3C9DB-F507-4D2E-A0BD-A79DF3BCE93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48681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8F3C9DB-F507-4D2E-A0BD-A79DF3BCE9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E822D18-F083-4A11-8A8E-97B02D4243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66D2174-445E-4B19-8B11-4600DF795C6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C07300E-68D6-45EE-8D3D-708B6F73A93A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7C1DB9D-DFB7-472C-A5DA-EB0B618E52A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83188" y="996950"/>
            <a:ext cx="6204909" cy="4864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40963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0B7E4B-A598-4FC5-98F2-82A4797514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3E60F3B-D3A8-4573-AAB3-FD56D6BAB0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35B04FF-3426-462B-AD34-6F983412A0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001832"/>
            <a:ext cx="10515600" cy="5175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49068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C9A1C9-EC3A-4050-8AC4-BE50B1D738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F10AF2-F5CB-4F11-9A58-D6CE1A92AD5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9C7F508-9B5D-433C-9C0C-D4E17F573C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5166" y="2322137"/>
            <a:ext cx="10515601" cy="2941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1192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DBD1C63E4692E47BACBB35554A466C6" ma:contentTypeVersion="15" ma:contentTypeDescription="Create a new document." ma:contentTypeScope="" ma:versionID="29e36aa9ceb0bdd4cfc8e63bee0898b9">
  <xsd:schema xmlns:xsd="http://www.w3.org/2001/XMLSchema" xmlns:xs="http://www.w3.org/2001/XMLSchema" xmlns:p="http://schemas.microsoft.com/office/2006/metadata/properties" xmlns:ns2="001b276d-b0c0-4828-99a6-09fd4a10f8ca" xmlns:ns3="39fd925e-f794-4aed-8e7f-93595da008ee" targetNamespace="http://schemas.microsoft.com/office/2006/metadata/properties" ma:root="true" ma:fieldsID="f15548d0183799406a928a74041bc00e" ns2:_="" ns3:_="">
    <xsd:import namespace="001b276d-b0c0-4828-99a6-09fd4a10f8ca"/>
    <xsd:import namespace="39fd925e-f794-4aed-8e7f-93595da008e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01b276d-b0c0-4828-99a6-09fd4a10f8c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6d165d17-9b79-46c3-82b9-c927e733c4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9fd925e-f794-4aed-8e7f-93595da008ee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a23eb54b-c408-4493-be24-3fa05dc88521}" ma:internalName="TaxCatchAll" ma:showField="CatchAllData" ma:web="39fd925e-f794-4aed-8e7f-93595da008e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01b276d-b0c0-4828-99a6-09fd4a10f8ca">
      <Terms xmlns="http://schemas.microsoft.com/office/infopath/2007/PartnerControls"/>
    </lcf76f155ced4ddcb4097134ff3c332f>
    <TaxCatchAll xmlns="39fd925e-f794-4aed-8e7f-93595da008ee" xsi:nil="true"/>
  </documentManagement>
</p:properties>
</file>

<file path=customXml/itemProps1.xml><?xml version="1.0" encoding="utf-8"?>
<ds:datastoreItem xmlns:ds="http://schemas.openxmlformats.org/officeDocument/2006/customXml" ds:itemID="{F8B2B80A-F5D4-4629-ADC4-74913B5B0E1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04380D9-3A54-4436-9CC3-3D34A10897D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01b276d-b0c0-4828-99a6-09fd4a10f8ca"/>
    <ds:schemaRef ds:uri="39fd925e-f794-4aed-8e7f-93595da008e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FE67A12-2F4B-4B80-9800-8A5B407B00D1}">
  <ds:schemaRefs>
    <ds:schemaRef ds:uri="http://schemas.microsoft.com/office/2006/metadata/properties"/>
    <ds:schemaRef ds:uri="http://purl.org/dc/elements/1.1/"/>
    <ds:schemaRef ds:uri="001b276d-b0c0-4828-99a6-09fd4a10f8ca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dcmitype/"/>
    <ds:schemaRef ds:uri="39fd925e-f794-4aed-8e7f-93595da008ee"/>
    <ds:schemaRef ds:uri="http://www.w3.org/XML/1998/namespace"/>
    <ds:schemaRef ds:uri="http://purl.org/dc/terms/"/>
  </ds:schemaRefs>
</ds:datastoreItem>
</file>

<file path=docMetadata/LabelInfo.xml><?xml version="1.0" encoding="utf-8"?>
<clbl:labelList xmlns:clbl="http://schemas.microsoft.com/office/2020/mipLabelMetadata"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0</TotalTime>
  <Words>12</Words>
  <Application>Microsoft Office PowerPoint</Application>
  <PresentationFormat>Widescreen</PresentationFormat>
  <Paragraphs>3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9" baseType="lpstr">
      <vt:lpstr>Arial</vt:lpstr>
      <vt:lpstr>Calibri</vt:lpstr>
      <vt:lpstr>Calibri Light</vt:lpstr>
      <vt:lpstr>office theme</vt:lpstr>
      <vt:lpstr>think-cell Slide</vt:lpstr>
      <vt:lpstr>Architecture Layers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uberty, Jérôme</dc:creator>
  <cp:lastModifiedBy>Huberty, Jérôme</cp:lastModifiedBy>
  <cp:revision>5</cp:revision>
  <dcterms:created xsi:type="dcterms:W3CDTF">2013-07-15T20:26:40Z</dcterms:created>
  <dcterms:modified xsi:type="dcterms:W3CDTF">2022-11-15T08:31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DBD1C63E4692E47BACBB35554A466C6</vt:lpwstr>
  </property>
  <property fmtid="{D5CDD505-2E9C-101B-9397-08002B2CF9AE}" pid="3" name="MediaServiceImageTags">
    <vt:lpwstr/>
  </property>
</Properties>
</file>